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2"/>
  </p:notesMasterIdLst>
  <p:handoutMasterIdLst>
    <p:handoutMasterId r:id="rId43"/>
  </p:handoutMasterIdLst>
  <p:sldIdLst>
    <p:sldId id="462" r:id="rId16"/>
    <p:sldId id="629" r:id="rId17"/>
    <p:sldId id="11474" r:id="rId18"/>
    <p:sldId id="11476" r:id="rId19"/>
    <p:sldId id="11477" r:id="rId20"/>
    <p:sldId id="11479" r:id="rId21"/>
    <p:sldId id="11478" r:id="rId22"/>
    <p:sldId id="11480" r:id="rId23"/>
    <p:sldId id="727" r:id="rId24"/>
    <p:sldId id="749" r:id="rId25"/>
    <p:sldId id="867" r:id="rId26"/>
    <p:sldId id="921" r:id="rId27"/>
    <p:sldId id="922" r:id="rId28"/>
    <p:sldId id="806" r:id="rId29"/>
    <p:sldId id="866" r:id="rId30"/>
    <p:sldId id="777" r:id="rId31"/>
    <p:sldId id="756" r:id="rId32"/>
    <p:sldId id="834" r:id="rId33"/>
    <p:sldId id="913" r:id="rId34"/>
    <p:sldId id="812" r:id="rId35"/>
    <p:sldId id="813" r:id="rId36"/>
    <p:sldId id="879" r:id="rId37"/>
    <p:sldId id="836" r:id="rId38"/>
    <p:sldId id="923" r:id="rId39"/>
    <p:sldId id="924" r:id="rId40"/>
    <p:sldId id="907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nect Student Registration" id="{5C75EF3B-86B8-6647-A64C-81E4B07450B2}">
          <p14:sldIdLst>
            <p14:sldId id="462"/>
            <p14:sldId id="629"/>
            <p14:sldId id="11474"/>
            <p14:sldId id="11476"/>
            <p14:sldId id="11477"/>
            <p14:sldId id="11479"/>
            <p14:sldId id="11478"/>
            <p14:sldId id="11480"/>
          </p14:sldIdLst>
        </p14:section>
        <p14:section name="TOC &amp; FDOC Checklist" id="{536829F8-5EE6-794E-8F94-67BD1EC5F537}">
          <p14:sldIdLst>
            <p14:sldId id="727"/>
          </p14:sldIdLst>
        </p14:section>
        <p14:section name="CONNECT and Sharpen Companion FDOC" id="{A0C82838-10D7-43A1-9983-E9A634D22EF6}">
          <p14:sldIdLst>
            <p14:sldId id="749"/>
            <p14:sldId id="867"/>
            <p14:sldId id="921"/>
            <p14:sldId id="922"/>
            <p14:sldId id="806"/>
            <p14:sldId id="866"/>
            <p14:sldId id="777"/>
            <p14:sldId id="756"/>
          </p14:sldIdLst>
        </p14:section>
        <p14:section name="Sharpen Companion: Connect IA with LMS" id="{7D808E64-C6DA-4A55-8CE0-47A491B9FF7F}">
          <p14:sldIdLst>
            <p14:sldId id="834"/>
            <p14:sldId id="913"/>
            <p14:sldId id="812"/>
            <p14:sldId id="813"/>
            <p14:sldId id="879"/>
          </p14:sldIdLst>
        </p14:section>
        <p14:section name="Sharpen Companion: Connect Log-In with LMS" id="{AA956BDD-B3DA-40BB-9958-206883F48C3F}">
          <p14:sldIdLst>
            <p14:sldId id="836"/>
            <p14:sldId id="923"/>
            <p14:sldId id="924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/>
    <p:restoredTop sz="94658"/>
  </p:normalViewPr>
  <p:slideViewPr>
    <p:cSldViewPr snapToGrid="0">
      <p:cViewPr varScale="1">
        <p:scale>
          <a:sx n="104" d="100"/>
          <a:sy n="104" d="100"/>
        </p:scale>
        <p:origin x="232" y="5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handoutMaster" Target="handoutMasters/handoutMaster1.xml"/><Relationship Id="rId48" Type="http://schemas.microsoft.com/office/2018/10/relationships/authors" Target="author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theme" Target="theme/theme1.xml"/><Relationship Id="rId20" Type="http://schemas.openxmlformats.org/officeDocument/2006/relationships/slide" Target="slides/slide5.xml"/><Relationship Id="rId41" Type="http://schemas.openxmlformats.org/officeDocument/2006/relationships/slide" Target="slides/slide26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92D7C-7077-49A2-6043-185CD13F8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7336EB-F27A-0281-8053-D53E10C33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09209-BCF7-5CBE-6370-0E29E3B7C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5C2E4-3337-BE78-698B-5CDBD7966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144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1A7942-6653-E259-10C4-22F3E21D28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A7D8C9-6D39-787E-9937-A0FDECA1FF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690215-9D81-9BCA-5D85-4BD30E590E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6A98B6-B218-62EC-3085-94EFEFFE36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0696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5FFA71-CF27-21BA-017E-57D9AF671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18CD0D-4DFE-B661-C3B0-47B78A154B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18B52F-B6FA-9A4F-878D-F8AA2AD2D3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EF8B53-4CEB-B7B6-9FDE-A7EB062937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9118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576B2-20F3-EF43-1428-3A32E4FB33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AF38F2-3EB2-9B25-F062-D3963356A8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05638E-1D10-02A1-14C6-D86514816C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61FE80-16EE-63FC-5F9D-0B3EC2D715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8432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6786C9-34D5-A334-B076-7E6BF7119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7E304-AB04-B3DB-AF2A-4AB6552EA1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D631E5-E2BC-349D-6748-68597C016E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A90551-7B4B-097E-768D-D595D8394B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8859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8483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FF1BC-FF4E-71C9-CFBF-7D651E358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1D75D9-F516-D004-25EC-7D80CEF58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5D3F53-B6C5-65CB-637A-98284999B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02CD-E621-8B38-7990-B11D0652E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8479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013AA-1138-5F50-B101-C4D9E429E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766156-B026-DFBD-0A2A-9DFE4D469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56B0CC-DB99-009A-C49A-E7B5F264A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7BD82-F14E-BDB4-0B66-FFF98EFCC6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4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07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336E-5A56-CB71-CF59-91C81F94C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C7B8BF-AEBC-CE5C-99A8-63977D3D8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62735-72E5-83C1-ABFF-ED6FE7EBB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E12AF-C398-2151-97BC-78873F53A2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100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122A62-A79E-4119-B229-FBF7365A5F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9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A782-D5A0-D999-8897-E32A878786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14309B-CD31-72F6-0959-6A4590D8D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5C408E-7AE3-AAFC-39D6-4BD7D480F9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3394B-3C62-9C18-E0C8-65AE2A9884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37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- Cover Slide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879750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89860AF3-B11D-E044-9D8F-73B99FD308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026" y="2978282"/>
            <a:ext cx="2341460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4DC76FFC-829F-2E41-8010-283209A5F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004" y="354173"/>
            <a:ext cx="2493543" cy="211306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FD2E4EE-B4A2-8B45-B517-3A2016545C0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76B47-2A89-7E1C-4938-FDDCFFD5D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134A905-D06B-FAE7-A7C4-664E8D45C9AD}"/>
              </a:ext>
            </a:extLst>
          </p:cNvPr>
          <p:cNvSpPr txBox="1">
            <a:spLocks/>
          </p:cNvSpPr>
          <p:nvPr userDrawn="1"/>
        </p:nvSpPr>
        <p:spPr>
          <a:xfrm>
            <a:off x="682672" y="7515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583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908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1.png"/><Relationship Id="rId5" Type="http://schemas.openxmlformats.org/officeDocument/2006/relationships/image" Target="../media/image50.emf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55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58.png"/><Relationship Id="rId5" Type="http://schemas.openxmlformats.org/officeDocument/2006/relationships/image" Target="../media/image30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0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0.png"/><Relationship Id="rId5" Type="http://schemas.openxmlformats.org/officeDocument/2006/relationships/image" Target="../media/image68.png"/><Relationship Id="rId4" Type="http://schemas.openxmlformats.org/officeDocument/2006/relationships/image" Target="../media/image6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C9C857-E79A-F545-BAB3-908AA67D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Connect ®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5FD6EFB-269E-194A-A965-948F2D8D67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tudent Registr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F26C10-15BC-1541-80F0-D47778F796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08087" y="4122407"/>
            <a:ext cx="4887913" cy="723986"/>
          </a:xfrm>
        </p:spPr>
        <p:txBody>
          <a:bodyPr/>
          <a:lstStyle/>
          <a:p>
            <a:r>
              <a:rPr lang="en-US" dirty="0"/>
              <a:t>Moodle with Inclusive Access </a:t>
            </a:r>
          </a:p>
          <a:p>
            <a:r>
              <a:rPr lang="en-US" dirty="0"/>
              <a:t>LTIA Deep Integration</a:t>
            </a:r>
          </a:p>
        </p:txBody>
      </p:sp>
    </p:spTree>
    <p:extLst>
      <p:ext uri="{BB962C8B-B14F-4D97-AF65-F5344CB8AC3E}">
        <p14:creationId xmlns:p14="http://schemas.microsoft.com/office/powerpoint/2010/main" val="1431422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Picture 6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25FAB81B-B0F0-B287-4225-8C0021948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FA2E2-6E98-FB93-D509-F1AA29412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8EBE8FB-1025-7E4C-41DA-28BE7BBAF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0517CD-2ED7-68EF-1595-2AECB3384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A73ADC0-44B8-C9A8-1083-D46A818AAF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EE10A906-799B-8E13-E8B4-B8ECD06573B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31BD18CA-E462-26DA-7134-B0B2AD119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2BD7A65A-CB13-3540-19A1-A6F893A6D8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C72D5321-6A39-DE58-DBE9-530C5E8E848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325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81500" y="1306513"/>
            <a:ext cx="7018338" cy="52832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nect Student Sup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arn how to register, navigate Connect, use SmartBook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download the ReadAnywhere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app, and more!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.com/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ed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support/student/connect.html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us, acces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via chat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 phone at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800) 331-5094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urs of Opera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nday: 12 PM to 12 AM 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day–Thursday: 24 hour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iday: 12 AM to 9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turday: 10 AM to 8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7B711-4DBF-9243-6526-349BEE169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3F5F1-3953-7077-094E-18C2D32656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6BE680-F286-5F0A-67B2-3AC64F79525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A Registration: Conn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63B5C2C-DB9D-0544-7D71-0F42C15188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FEFFD9DE-0378-9FA1-EC12-952CED01FE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DEC2852-0BC7-7C70-FE04-E31FABBB6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E6624F-BBCD-4210-2044-75519B896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5233" b="246"/>
          <a:stretch/>
        </p:blipFill>
        <p:spPr>
          <a:xfrm>
            <a:off x="3884263" y="3002037"/>
            <a:ext cx="4834427" cy="3846317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D73D54A7-768E-BE61-DC7B-3670508B41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0157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9D5554-7FC2-80B6-2D28-78E18C1BD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337C7A2-D579-1FFF-120F-9D524A00A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Connect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Mood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B4F36-605D-E159-F5FA-8BB8AE3FE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4046D0-D78C-F99F-C249-D1E2735F40F8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DC54E7-74D9-5B70-E0E4-1278D51F0FDE}"/>
              </a:ext>
            </a:extLst>
          </p:cNvPr>
          <p:cNvSpPr txBox="1"/>
          <p:nvPr/>
        </p:nvSpPr>
        <p:spPr>
          <a:xfrm>
            <a:off x="4500561" y="2089315"/>
            <a:ext cx="763515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Connect from your Moodle course, select a McGraw Hill Connect assignment from a topic area. On the next screen, click to launch it.</a:t>
            </a:r>
          </a:p>
        </p:txBody>
      </p:sp>
      <p:pic>
        <p:nvPicPr>
          <p:cNvPr id="6" name="Picture 7" descr="Moodle course screenshot showing the student's Connect assignment. Yellow rectangle highlights the assignment.">
            <a:extLst>
              <a:ext uri="{FF2B5EF4-FFF2-40B4-BE49-F238E27FC236}">
                <a16:creationId xmlns:a16="http://schemas.microsoft.com/office/drawing/2014/main" id="{77FF6D61-136C-CF2B-C345-1CEA7EB8E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7091" y="2777242"/>
            <a:ext cx="5618018" cy="25491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6FAA6B-B036-7569-A879-E04B87BD0E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6043" y="3932792"/>
            <a:ext cx="1159659" cy="364671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2" name="Picture 11" descr="Connect assignment screenshot with the launch button.">
            <a:extLst>
              <a:ext uri="{FF2B5EF4-FFF2-40B4-BE49-F238E27FC236}">
                <a16:creationId xmlns:a16="http://schemas.microsoft.com/office/drawing/2014/main" id="{76E4B612-FFCE-A66B-F726-A2DA4342A1B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3713" t="32740" b="465"/>
          <a:stretch/>
        </p:blipFill>
        <p:spPr>
          <a:xfrm>
            <a:off x="7742738" y="4416286"/>
            <a:ext cx="4139115" cy="18036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1976056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A43DFC8-760D-FA5E-F9F9-479122304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2812"/>
            <a:ext cx="12192000" cy="68451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There is a 95% student satisfaction rate reported.&#10;&#10;&#10;&#10;&#10;">
            <a:extLst>
              <a:ext uri="{FF2B5EF4-FFF2-40B4-BE49-F238E27FC236}">
                <a16:creationId xmlns:a16="http://schemas.microsoft.com/office/drawing/2014/main" id="{1B13A01B-16DB-B0E2-5766-38690CA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8755" y="4434030"/>
            <a:ext cx="2227431" cy="2423969"/>
          </a:xfrm>
          <a:prstGeom prst="rect">
            <a:avLst/>
          </a:prstGeom>
        </p:spPr>
      </p:pic>
      <p:pic>
        <p:nvPicPr>
          <p:cNvPr id="13" name="Picture 12" descr="88% of students using Connect report that they find it easy to use.">
            <a:extLst>
              <a:ext uri="{FF2B5EF4-FFF2-40B4-BE49-F238E27FC236}">
                <a16:creationId xmlns:a16="http://schemas.microsoft.com/office/drawing/2014/main" id="{A585DD2F-02DA-8B7A-EADE-717BCC7FD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703" y="4434031"/>
            <a:ext cx="2734733" cy="2423968"/>
          </a:xfrm>
          <a:prstGeom prst="rect">
            <a:avLst/>
          </a:prstGeom>
        </p:spPr>
      </p:pic>
      <p:pic>
        <p:nvPicPr>
          <p:cNvPr id="11" name="Picture 10" descr="There is a 99% uptime and reliability reported among users.">
            <a:extLst>
              <a:ext uri="{FF2B5EF4-FFF2-40B4-BE49-F238E27FC236}">
                <a16:creationId xmlns:a16="http://schemas.microsoft.com/office/drawing/2014/main" id="{AA9CA2E7-A54B-32DB-2E9E-4D7112E4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4046" y="4434031"/>
            <a:ext cx="2197732" cy="2423969"/>
          </a:xfrm>
          <a:prstGeom prst="rect">
            <a:avLst/>
          </a:prstGeom>
        </p:spPr>
      </p:pic>
      <p:pic>
        <p:nvPicPr>
          <p:cNvPr id="5" name="Picture 4" descr="A computer with a chat window">
            <a:extLst>
              <a:ext uri="{FF2B5EF4-FFF2-40B4-BE49-F238E27FC236}">
                <a16:creationId xmlns:a16="http://schemas.microsoft.com/office/drawing/2014/main" id="{4EB64396-0494-E881-FF52-7D72ADF54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6133" y="1413000"/>
            <a:ext cx="5268209" cy="2782088"/>
          </a:xfrm>
          <a:prstGeom prst="rect">
            <a:avLst/>
          </a:prstGeom>
        </p:spPr>
      </p:pic>
      <p:sp>
        <p:nvSpPr>
          <p:cNvPr id="2" name="Content">
            <a:extLst>
              <a:ext uri="{FF2B5EF4-FFF2-40B4-BE49-F238E27FC236}">
                <a16:creationId xmlns:a16="http://schemas.microsoft.com/office/drawing/2014/main" id="{2DCC113D-1C05-E944-2ED5-9EAFBCBCFA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0905" y="2423969"/>
            <a:ext cx="3759272" cy="291139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  <a:latin typeface="Arial"/>
                <a:cs typeface="Arial"/>
              </a:rPr>
              <a:t>Personalized Learning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Interactive, Course-Specific Tool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Built-in AI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Mobile eBook Acces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Affordable Materials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Quality Content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Support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75B486-3B8F-1D3E-7066-0C1216A32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8755" y="434586"/>
            <a:ext cx="2341460" cy="550591"/>
          </a:xfrm>
          <a:prstGeom prst="rect">
            <a:avLst/>
          </a:prstGeom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A59AA992-546C-FC9F-640A-FC9DC982918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63517" y="434586"/>
            <a:ext cx="8898789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nect is your personalized digital learning experience designed to help you optimize study time and ramp up your grade potential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158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AF83A8-93FC-4E3C-6772-2E56F4CC8A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C2B2D3-D761-B469-0333-E3A8BF884F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8BD002B-DC8B-314A-FB3E-248C598D21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28D90825-017A-1D39-9535-98BFEE4605EC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A1BD8B1-01DB-4D9C-1BF7-BD02B422764A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your email address and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reate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If you receive the message "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You have a Connect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 but have forgotten your password," click 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Forgot your password?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*Depending on your school you might skip this step. That’s ok! Just continue the process from that step to the end. </a:t>
            </a:r>
            <a:endParaRPr lang="en-US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6" name="Picture 5" descr="Screenshot of Connect log-in screen.">
            <a:extLst>
              <a:ext uri="{FF2B5EF4-FFF2-40B4-BE49-F238E27FC236}">
                <a16:creationId xmlns:a16="http://schemas.microsoft.com/office/drawing/2014/main" id="{6E90F410-7F18-ACAC-32E0-8868114DB07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742" y="2706007"/>
            <a:ext cx="4544182" cy="1935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331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164A5-BAE6-A18A-F688-F7D7E698E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7AC1F3-9D96-E4C4-9B95-BC5DFCFC1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D513328-8A2D-0304-F37B-54BEE249D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F4706BD-26AA-DDF7-2A05-C1F5B8961F93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EB39872-7B94-0BB2-7DD9-ADA6A8E2629E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reate your account: Enter email, First and Last Name, create a password and select a security quest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Always use your school email address when creating an account. 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receive text alerts, enter your mobile number. Agree to the Terms and Conditions and then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tinue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0" name="Picture 9" descr="Screenshot of Connect registration screen.">
            <a:extLst>
              <a:ext uri="{FF2B5EF4-FFF2-40B4-BE49-F238E27FC236}">
                <a16:creationId xmlns:a16="http://schemas.microsoft.com/office/drawing/2014/main" id="{F2121E59-ABD0-357A-77E9-38ADEA1904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5949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7BE609F-265B-6ECA-7C73-83EB43CFB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Complete Registration to access your learning content.</a:t>
            </a:r>
            <a:endParaRPr lang="en-US"/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7" name="Picture 16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E824B36A-3EAB-FAC3-AFE9-9035BB5D66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224" y="1492477"/>
            <a:ext cx="6530219" cy="3232000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2CD995-0289-B4EA-9FA6-A71E0C3ED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8257" y="2584025"/>
            <a:ext cx="2198853" cy="69760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6052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D406-8D56-2C03-32D9-8AD2857F1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13D0F-03DE-8091-49AB-81C808C83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FB260E-1BE2-01E0-442F-8E686034E8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: Conn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A80E7AA-3628-3A3C-B899-2A1793FEC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1228838-41E7-8743-64B3-0C2E5366B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1546F-E383-9624-DA0D-7BD40F193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B94CDD-0A9D-0594-DEE2-47301F086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4251" b="246"/>
          <a:stretch/>
        </p:blipFill>
        <p:spPr>
          <a:xfrm>
            <a:off x="3884263" y="2957213"/>
            <a:ext cx="4834427" cy="3891041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F9AFD67B-AD9B-571D-45B5-45CAD26F37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615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74513-6A0B-C980-D365-3133946F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ECD388-BDE4-B32C-C722-895049EAC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23E38D1-00F6-3830-D6A6-316566534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4330957-D553-2BC9-BB60-B6DB5CD1ED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1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B941393-78B7-54EF-512E-227DB1DE7352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 LMS Cover Sheet includes two Sharpen launch points. 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First, click on the top LMS Cover Sheet to open a new page with the Sharpen access point. 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B2102AB5-EC71-434C-FEB4-30BD35AD57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9" name="Picture 8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84543BC3-0BFA-C64F-A2FD-2E27DA75B5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3012" y="3542117"/>
            <a:ext cx="3512724" cy="30404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7C414CE-01BC-DF89-2A35-01DEC0A5C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6" y="1913162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9" name="Picture 18" descr="Sharpen web app that opens after students open Sharpen from Connect.">
            <a:extLst>
              <a:ext uri="{FF2B5EF4-FFF2-40B4-BE49-F238E27FC236}">
                <a16:creationId xmlns:a16="http://schemas.microsoft.com/office/drawing/2014/main" id="{E2528E62-6FA8-04B7-83E7-01D693DAE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283A2C-66F4-FF97-9062-124486E7B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6043" y="4639053"/>
            <a:ext cx="1191591" cy="350074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12068009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3D05-AEF8-801C-8B9F-B0679DE872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12CF5-2A6D-250F-0D68-A02ADF266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651F751-DC0E-2BE1-C873-7E1D158E2D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DDBEFD0-351C-13DB-D55D-F55EAEF877E5}"/>
              </a:ext>
            </a:extLst>
          </p:cNvPr>
          <p:cNvSpPr txBox="1"/>
          <p:nvPr/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 dirty="0">
                <a:latin typeface="Arial"/>
                <a:ea typeface="Calibri"/>
                <a:cs typeface="Arial"/>
              </a:rPr>
              <a:t>Sharpen Companion Log-In Flow</a:t>
            </a:r>
          </a:p>
          <a:p>
            <a:r>
              <a:rPr lang="en-US" sz="2400" b="1" dirty="0">
                <a:solidFill>
                  <a:srgbClr val="000000"/>
                </a:solidFill>
                <a:latin typeface="Arial"/>
                <a:ea typeface="Calibri"/>
                <a:cs typeface="Arial"/>
              </a:rPr>
              <a:t>Part 2</a:t>
            </a:r>
            <a:endParaRPr lang="en-US" sz="2400" dirty="0">
              <a:solidFill>
                <a:srgbClr val="000000"/>
              </a:solidFill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EA66A1F-AB04-9744-8BCF-BC5DA997EF21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1754995"/>
            <a:ext cx="5119036" cy="4373563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MS Cover Shee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: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access the second launch point, click on the bottom Sharpen assignment to open a new page with the Sharpen access point.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ck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egi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o launch Sharpen in a new web window.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6" name="Picture 5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C98E3267-1366-3737-FC75-06C918A0D4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0" name="Picture 9" descr="Screenshot of Begin button to launch Sharpen. Yellow rectangle highlights the Launch point.">
            <a:extLst>
              <a:ext uri="{FF2B5EF4-FFF2-40B4-BE49-F238E27FC236}">
                <a16:creationId xmlns:a16="http://schemas.microsoft.com/office/drawing/2014/main" id="{FD1BC754-F213-B3DE-5D98-37E33D5286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494" y="3708144"/>
            <a:ext cx="4898572" cy="26076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35856B0-0EC7-0B8A-ADEE-DC55B78D0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5" y="2364259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7" name="Picture 6" descr="Sharpen web app that opens after students open Sharpen from Connect.">
            <a:extLst>
              <a:ext uri="{FF2B5EF4-FFF2-40B4-BE49-F238E27FC236}">
                <a16:creationId xmlns:a16="http://schemas.microsoft.com/office/drawing/2014/main" id="{7F45EF98-FA8C-618D-6CBC-CC920CB809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53D034-9077-D990-6712-74D321D33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8072" y="5412259"/>
            <a:ext cx="1465908" cy="417307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1505594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Connect</a:t>
            </a:r>
            <a:r>
              <a:rPr lang="en-US" baseline="30000">
                <a:latin typeface="Arial"/>
                <a:cs typeface="Arial"/>
              </a:rPr>
              <a:t> ®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6526AF70-00EB-6272-9C69-35FECD9C63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57734" y="2318515"/>
            <a:ext cx="2731443" cy="2731443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!</a:t>
            </a:r>
          </a:p>
        </p:txBody>
      </p:sp>
      <p:sp>
        <p:nvSpPr>
          <p:cNvPr id="5" name="Diamond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80681" y="2352971"/>
            <a:ext cx="243749" cy="243749"/>
          </a:xfrm>
          <a:prstGeom prst="diamond">
            <a:avLst/>
          </a:prstGeom>
          <a:solidFill>
            <a:srgbClr val="CC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593459" y="5641705"/>
            <a:ext cx="243749" cy="243749"/>
          </a:xfrm>
          <a:prstGeom prst="diamond">
            <a:avLst/>
          </a:prstGeom>
          <a:solidFill>
            <a:srgbClr val="E3BA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Diamond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9540" y="4623555"/>
            <a:ext cx="243749" cy="243749"/>
          </a:xfrm>
          <a:prstGeom prst="diamond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Diamond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74688" y="3444413"/>
            <a:ext cx="243749" cy="243749"/>
          </a:xfrm>
          <a:prstGeom prst="diamond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90291" y="3561134"/>
            <a:ext cx="141485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02912" y="4752523"/>
            <a:ext cx="14941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48047" y="5770672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63964" y="3124116"/>
            <a:ext cx="926088" cy="9260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Oval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47004" y="4336522"/>
            <a:ext cx="926088" cy="926088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49987" y="5387649"/>
            <a:ext cx="926088" cy="926088"/>
          </a:xfrm>
          <a:prstGeom prst="ellipse">
            <a:avLst/>
          </a:prstGeom>
          <a:solidFill>
            <a:srgbClr val="E3BAFE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721415" y="2462964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47343" y="1972092"/>
            <a:ext cx="926088" cy="92608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1F7072A-CFCF-833C-0C76-8305D4EA97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35795" y="1448962"/>
            <a:ext cx="243749" cy="243749"/>
          </a:xfrm>
          <a:prstGeom prst="diamond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061442-C886-DFB1-AC08-A0DF6B95D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955397" y="946388"/>
            <a:ext cx="926088" cy="926088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1C89F4-1B61-7055-85B8-9DA1D5B8C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390383" y="1577929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6C46B8-D4FE-0D7C-6202-530A521276C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6667" y="6129970"/>
            <a:ext cx="11669636" cy="6036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b="0" dirty="0">
                <a:latin typeface="Arial"/>
                <a:cs typeface="Arial"/>
              </a:rPr>
              <a:t>*  </a:t>
            </a:r>
            <a:r>
              <a:rPr lang="en-US" sz="1400" b="0" i="1" dirty="0" err="1">
                <a:latin typeface="Arial"/>
                <a:cs typeface="Arial"/>
              </a:rPr>
              <a:t>ReadAnywhere</a:t>
            </a:r>
            <a:r>
              <a:rPr lang="en-US" sz="1400" b="0" i="1" dirty="0">
                <a:latin typeface="Arial"/>
                <a:cs typeface="Arial"/>
              </a:rPr>
              <a:t> supports newer eBooks and </a:t>
            </a:r>
            <a:r>
              <a:rPr lang="en-US" sz="1400" b="0" i="1" dirty="0" err="1">
                <a:latin typeface="Arial"/>
                <a:cs typeface="Arial"/>
              </a:rPr>
              <a:t>SmartBook</a:t>
            </a:r>
            <a:r>
              <a:rPr lang="en-US" sz="1400" b="0" i="1" dirty="0">
                <a:latin typeface="Arial"/>
                <a:cs typeface="Arial"/>
              </a:rPr>
              <a:t> - may not be available in your Connect course. Sharpen available in most courses.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grpSp>
        <p:nvGrpSpPr>
          <p:cNvPr id="79" name="Group 78" descr="Get support when needed. Connect support is available 24/7 via chat or phone. Please reach out to them with any issues. They are there to help!">
            <a:extLst>
              <a:ext uri="{FF2B5EF4-FFF2-40B4-BE49-F238E27FC236}">
                <a16:creationId xmlns:a16="http://schemas.microsoft.com/office/drawing/2014/main" id="{60F9DCB8-D144-8DCD-73CA-2DAD61EB592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662552" y="5513314"/>
            <a:ext cx="4618053" cy="773924"/>
            <a:chOff x="6712960" y="1530785"/>
            <a:chExt cx="2405788" cy="77392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E96D5CC-7B0E-74D7-25A4-2F887F0BDF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Connect support is available 24/7 via chat or phone. Please reach out to them with any issues. They are there to help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1E9868A-AD10-6242-D3FC-B97221004FE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Get Support When Needed</a:t>
              </a:r>
            </a:p>
          </p:txBody>
        </p:sp>
      </p:grpSp>
      <p:pic>
        <p:nvPicPr>
          <p:cNvPr id="93" name="Graphic 92" descr="Lightbulb and gear outline">
            <a:extLst>
              <a:ext uri="{FF2B5EF4-FFF2-40B4-BE49-F238E27FC236}">
                <a16:creationId xmlns:a16="http://schemas.microsoft.com/office/drawing/2014/main" id="{F3D0A7AB-A13F-8A04-6C2D-858BF15858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761395" y="5473817"/>
            <a:ext cx="743764" cy="743764"/>
          </a:xfrm>
          <a:prstGeom prst="rect">
            <a:avLst/>
          </a:prstGeom>
        </p:spPr>
      </p:pic>
      <p:grpSp>
        <p:nvGrpSpPr>
          <p:cNvPr id="76" name="Group 75" descr="Use your resources. Prep like a pro with exam-like quizzes, flashcards, videos, and study tools aligned with your textbook.">
            <a:extLst>
              <a:ext uri="{FF2B5EF4-FFF2-40B4-BE49-F238E27FC236}">
                <a16:creationId xmlns:a16="http://schemas.microsoft.com/office/drawing/2014/main" id="{687B8526-DD28-8E16-6017-8FA65D22A3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44583" y="4379592"/>
            <a:ext cx="3809806" cy="989368"/>
            <a:chOff x="6712960" y="1530785"/>
            <a:chExt cx="2405788" cy="989368"/>
          </a:xfrm>
        </p:grpSpPr>
        <p:sp>
          <p:nvSpPr>
            <p:cNvPr id="77" name="Rectangle 76" descr="Use your resources. Prep like a pro with exam-like quizzes, flashcards, videos, and study tools aligned with your textbook.">
              <a:extLst>
                <a:ext uri="{FF2B5EF4-FFF2-40B4-BE49-F238E27FC236}">
                  <a16:creationId xmlns:a16="http://schemas.microsoft.com/office/drawing/2014/main" id="{05C7FFA6-1DA2-B6B4-9AD8-3C8AC852CF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Prep like a pro with exam-like quizzes, flashcards, videos, and study tools aligned with your textbook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2BC0027-A31C-0F53-9CD8-B4A579D412E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Use Your Resources</a:t>
              </a:r>
            </a:p>
          </p:txBody>
        </p:sp>
      </p:grpSp>
      <p:pic>
        <p:nvPicPr>
          <p:cNvPr id="91" name="Graphic 90" descr="Connections outline">
            <a:extLst>
              <a:ext uri="{FF2B5EF4-FFF2-40B4-BE49-F238E27FC236}">
                <a16:creationId xmlns:a16="http://schemas.microsoft.com/office/drawing/2014/main" id="{EDB9C382-3EB5-128A-D3CC-DC717CB757D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820544" y="4502111"/>
            <a:ext cx="594910" cy="594910"/>
          </a:xfrm>
          <a:prstGeom prst="rect">
            <a:avLst/>
          </a:prstGeom>
        </p:spPr>
      </p:pic>
      <p:grpSp>
        <p:nvGrpSpPr>
          <p:cNvPr id="73" name="Group 72" descr="Know what to study. Recharge in SmartBook provides you with personalized studying of concepts you’ve learned. Built with the power of learning science, you’ll know just what to study!">
            <a:extLst>
              <a:ext uri="{FF2B5EF4-FFF2-40B4-BE49-F238E27FC236}">
                <a16:creationId xmlns:a16="http://schemas.microsoft.com/office/drawing/2014/main" id="{9F2F35AE-15BE-5686-2687-37F31526F8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1721" y="3048290"/>
            <a:ext cx="4378036" cy="1204811"/>
            <a:chOff x="6712960" y="1530785"/>
            <a:chExt cx="2405788" cy="1204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755CA58-09D0-6D28-5F50-71D1A433A8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Recharge in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provides you with personalized studying of concepts you’ve learned. Built with the power of learning science, you’ll know just what to study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E45B606-2B6C-7FAC-8328-9A5B7B3BB8E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Know What to Study</a:t>
              </a:r>
            </a:p>
          </p:txBody>
        </p:sp>
      </p:grpSp>
      <p:pic>
        <p:nvPicPr>
          <p:cNvPr id="83" name="Graphic 82" descr="Chat bubble outline">
            <a:extLst>
              <a:ext uri="{FF2B5EF4-FFF2-40B4-BE49-F238E27FC236}">
                <a16:creationId xmlns:a16="http://schemas.microsoft.com/office/drawing/2014/main" id="{3EC52EBC-83C9-D758-D8EE-B47ED5A348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5633" y="3187590"/>
            <a:ext cx="823222" cy="823222"/>
          </a:xfrm>
          <a:prstGeom prst="rect">
            <a:avLst/>
          </a:prstGeom>
        </p:spPr>
      </p:pic>
      <p:grpSp>
        <p:nvGrpSpPr>
          <p:cNvPr id="21" name="Group 20" descr="Focus. View the Reports in Connect to understand key concepts from the content.">
            <a:extLst>
              <a:ext uri="{FF2B5EF4-FFF2-40B4-BE49-F238E27FC236}">
                <a16:creationId xmlns:a16="http://schemas.microsoft.com/office/drawing/2014/main" id="{C57DD816-45BD-248D-0E3C-C675FE6A5F8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407768" y="1988182"/>
            <a:ext cx="3809806" cy="773924"/>
            <a:chOff x="6712960" y="1530785"/>
            <a:chExt cx="2405788" cy="7739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FB3366-15D0-6D31-51F7-89C54E4604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View the Reports in Connect to understand key concepts from the content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C8AC9A0-5315-5051-B9C0-4C65E9CEA8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Focus!</a:t>
              </a:r>
            </a:p>
          </p:txBody>
        </p:sp>
      </p:grpSp>
      <p:pic>
        <p:nvPicPr>
          <p:cNvPr id="89" name="Graphic 88" descr="Ui Ux outline">
            <a:extLst>
              <a:ext uri="{FF2B5EF4-FFF2-40B4-BE49-F238E27FC236}">
                <a16:creationId xmlns:a16="http://schemas.microsoft.com/office/drawing/2014/main" id="{0080D1CD-4548-941A-1441-8EA4FDB99A6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84281" y="2085798"/>
            <a:ext cx="646197" cy="646197"/>
          </a:xfrm>
          <a:prstGeom prst="rect">
            <a:avLst/>
          </a:prstGeom>
        </p:spPr>
      </p:pic>
      <p:grpSp>
        <p:nvGrpSpPr>
          <p:cNvPr id="34" name="Group 33" descr="Learn On-the-Go. Download the free ReadAnywhere app to take your eBook and SmartBook with you—online and offline."/>
          <p:cNvGrpSpPr>
            <a:grpSpLocks noGrp="1" noUngrp="1" noRot="1" noMove="1" noResize="1"/>
          </p:cNvGrpSpPr>
          <p:nvPr/>
        </p:nvGrpSpPr>
        <p:grpSpPr>
          <a:xfrm>
            <a:off x="5979102" y="904473"/>
            <a:ext cx="5958898" cy="815133"/>
            <a:chOff x="6712960" y="1530785"/>
            <a:chExt cx="2405788" cy="815133"/>
          </a:xfrm>
        </p:grpSpPr>
        <p:sp>
          <p:nvSpPr>
            <p:cNvPr id="32" name="Rectangle 31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822698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Download the free </a:t>
              </a:r>
              <a:r>
                <a:rPr lang="en-US" sz="1400" dirty="0" err="1">
                  <a:latin typeface="Calibri"/>
                  <a:cs typeface="Calibri"/>
                </a:rPr>
                <a:t>ReadAnywhere</a:t>
              </a:r>
              <a:r>
                <a:rPr lang="en-US" sz="1400" dirty="0">
                  <a:latin typeface="Calibri"/>
                  <a:cs typeface="Calibri"/>
                </a:rPr>
                <a:t> app to take your eBook and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with you—online</a:t>
              </a:r>
              <a:r>
                <a:rPr lang="en-US" sz="1400" i="1" dirty="0">
                  <a:latin typeface="Calibri"/>
                  <a:cs typeface="Calibri"/>
                </a:rPr>
                <a:t> and </a:t>
              </a:r>
              <a:r>
                <a:rPr lang="en-US" sz="1400" dirty="0">
                  <a:latin typeface="Calibri"/>
                  <a:cs typeface="Calibri"/>
                </a:rPr>
                <a:t>offline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Learn On-the-Go</a:t>
              </a:r>
            </a:p>
          </p:txBody>
        </p:sp>
      </p:grpSp>
      <p:pic>
        <p:nvPicPr>
          <p:cNvPr id="87" name="Graphic 86" descr="Smiling face outline outline">
            <a:extLst>
              <a:ext uri="{FF2B5EF4-FFF2-40B4-BE49-F238E27FC236}">
                <a16:creationId xmlns:a16="http://schemas.microsoft.com/office/drawing/2014/main" id="{75B10BC4-02A1-3C20-4F37-4D8CED478A9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3679" y="1027309"/>
            <a:ext cx="732442" cy="732442"/>
          </a:xfrm>
          <a:prstGeom prst="rect">
            <a:avLst/>
          </a:prstGeom>
        </p:spPr>
      </p:pic>
      <p:sp>
        <p:nvSpPr>
          <p:cNvPr id="4" name="Arc 3" descr="Make the most of connect to gain success!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7259" y="1612212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 descr="McGraw Hill Connect Logo">
            <a:extLst>
              <a:ext uri="{FF2B5EF4-FFF2-40B4-BE49-F238E27FC236}">
                <a16:creationId xmlns:a16="http://schemas.microsoft.com/office/drawing/2014/main" id="{DE7325CA-533B-03D5-50AF-AC408B2AF3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3633" y="256749"/>
            <a:ext cx="2341460" cy="550591"/>
          </a:xfrm>
          <a:prstGeom prst="rect">
            <a:avLst/>
          </a:prstGeom>
        </p:spPr>
      </p:pic>
      <p:sp>
        <p:nvSpPr>
          <p:cNvPr id="2" name="Title 1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72494" y="-147031"/>
            <a:ext cx="10515600" cy="1325563"/>
          </a:xfrm>
        </p:spPr>
        <p:txBody>
          <a:bodyPr>
            <a:normAutofit/>
          </a:bodyPr>
          <a:lstStyle/>
          <a:p>
            <a:r>
              <a:rPr lang="en-IN" sz="3600" b="1" dirty="0">
                <a:solidFill>
                  <a:srgbClr val="002060"/>
                </a:solidFill>
              </a:rPr>
              <a:t>Make the Most of Connect!</a:t>
            </a:r>
          </a:p>
        </p:txBody>
      </p:sp>
    </p:spTree>
    <p:extLst>
      <p:ext uri="{BB962C8B-B14F-4D97-AF65-F5344CB8AC3E}">
        <p14:creationId xmlns:p14="http://schemas.microsoft.com/office/powerpoint/2010/main" val="320765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/>
                <a:cs typeface="Arial"/>
              </a:rPr>
              <a:t>Login into your Moodle account and navigate to your course.  </a:t>
            </a:r>
            <a:endParaRPr lang="en-US" dirty="0"/>
          </a:p>
          <a:p>
            <a:r>
              <a:rPr lang="en-US" dirty="0"/>
              <a:t>                </a:t>
            </a:r>
          </a:p>
          <a:p>
            <a:r>
              <a:rPr lang="en-US" dirty="0">
                <a:latin typeface="Arial"/>
                <a:cs typeface="Arial"/>
              </a:rPr>
              <a:t>If you are not sure if you have a Blackboard account, check with your instructo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4FC930-A7C5-0A96-EBF0-F5DAB7EDA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682672" y="1951907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vigate to a Connect assignment link and click on it.    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4358D18-B998-1CAB-298F-C71701BC38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72" y="3028068"/>
            <a:ext cx="9811854" cy="2049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AA4E02-6AE3-16DC-A0A0-04F56927A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3201988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Begin</a:t>
            </a:r>
            <a:r>
              <a:rPr lang="en-US" dirty="0"/>
              <a:t>. </a:t>
            </a:r>
          </a:p>
        </p:txBody>
      </p:sp>
      <p:pic>
        <p:nvPicPr>
          <p:cNvPr id="6" name="Picture 5" descr="Image shows Connect prompt where there is a blue rectangular box where you will click to begin registration. ">
            <a:extLst>
              <a:ext uri="{FF2B5EF4-FFF2-40B4-BE49-F238E27FC236}">
                <a16:creationId xmlns:a16="http://schemas.microsoft.com/office/drawing/2014/main" id="{66FAE266-F022-7D30-0497-12E7B6EC8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684" y="2663455"/>
            <a:ext cx="5580896" cy="25201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DF7C4-1F6B-4888-0BC4-462CFB495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b="1" dirty="0"/>
              <a:t>Sign In </a:t>
            </a:r>
            <a:r>
              <a:rPr lang="en-US" dirty="0"/>
              <a:t>with an existing Connect account or </a:t>
            </a:r>
            <a:r>
              <a:rPr lang="en-US" b="1" dirty="0"/>
              <a:t>Create Account</a:t>
            </a:r>
            <a:r>
              <a:rPr lang="en-US" dirty="0"/>
              <a:t>.</a:t>
            </a:r>
            <a:endParaRPr lang="en-US" sz="1600" dirty="0"/>
          </a:p>
        </p:txBody>
      </p:sp>
      <p:pic>
        <p:nvPicPr>
          <p:cNvPr id="8" name="Picture 7" descr="The prompt on the left of the screen will be where you create a new account. The prompt on the right will be where you enter an existing email address and password for Connect. ">
            <a:extLst>
              <a:ext uri="{FF2B5EF4-FFF2-40B4-BE49-F238E27FC236}">
                <a16:creationId xmlns:a16="http://schemas.microsoft.com/office/drawing/2014/main" id="{7AA9A1D3-1E21-7DF9-E8AD-B8DCB9DEC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590" y="3035328"/>
            <a:ext cx="6520417" cy="311878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8A716-DACA-CF3D-863F-8EFA57625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7D12E-7A7F-F8A2-7B40-F499FFBB4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CC5B0A-0678-0993-D1DD-FB6C0370F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3DF3A86-8B89-88C8-5653-488D37437088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Confirm</a:t>
            </a:r>
            <a:r>
              <a:rPr lang="en-US" dirty="0"/>
              <a:t>.   You are now registered. </a:t>
            </a:r>
          </a:p>
        </p:txBody>
      </p:sp>
      <p:pic>
        <p:nvPicPr>
          <p:cNvPr id="4" name="Picture 3" descr="The course information will be displayed and if correct you will click on the red rectangular box to Confirm registration. ">
            <a:extLst>
              <a:ext uri="{FF2B5EF4-FFF2-40B4-BE49-F238E27FC236}">
                <a16:creationId xmlns:a16="http://schemas.microsoft.com/office/drawing/2014/main" id="{A14813D8-8516-B152-639B-185399878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9337" y="2952107"/>
            <a:ext cx="6513325" cy="261271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386065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 sz="2200">
                <a:latin typeface="Arial"/>
                <a:cs typeface="Arial"/>
              </a:rPr>
              <a:t>Slides Available for the First Day of Class: Sharpen Companion, IA, Moodle</a:t>
            </a:r>
            <a:endParaRPr lang="en-US" sz="2200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Connect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sz="1400" strike="sngStrike" dirty="0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and Sharpen Companion FDOC Slides 10 – 17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Purchase Flows</a:t>
            </a:r>
            <a:endParaRPr lang="en-US" sz="1400" dirty="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IA: Connect with an LMS: Moodle Slides 18 – 22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 and IA: Connect with an LMS Slides 23 – 26</a:t>
            </a:r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Props1.xml><?xml version="1.0" encoding="utf-8"?>
<ds:datastoreItem xmlns:ds="http://schemas.openxmlformats.org/officeDocument/2006/customXml" ds:itemID="{A0B9292E-D55F-4D4C-85E6-04FB0E40C744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1</TotalTime>
  <Words>1497</Words>
  <Application>Microsoft Macintosh PowerPoint</Application>
  <PresentationFormat>Widescreen</PresentationFormat>
  <Paragraphs>197</Paragraphs>
  <Slides>2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7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McGraw Hill Connect ®</vt:lpstr>
      <vt:lpstr>Connect is your personalized digital learning experience designed to help you optimize study time and ramp up your grade potential.</vt:lpstr>
      <vt:lpstr>Make the Most of Connect!</vt:lpstr>
      <vt:lpstr>Step 1</vt:lpstr>
      <vt:lpstr>Step 2</vt:lpstr>
      <vt:lpstr>Step 3</vt:lpstr>
      <vt:lpstr>Step 4</vt:lpstr>
      <vt:lpstr>Step 5</vt:lpstr>
      <vt:lpstr>Slides Available for the First Day of Class: Sharpen Companion, IA, Moodle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 Learn how to register, navigate Connect, use SmartBook®, download the ReadAnywhere® app, and more!  mheducation.com/highered/support/student/connect.html Plus, access technical support via chat  or phone at (800) 331-5094. Hours of Operation: Sunday: 12 PM to 12 AM ET Monday–Thursday: 24 hours Friday: 12 AM to 9 PM ET Saturday: 10 AM to 8 PM ET</vt:lpstr>
      <vt:lpstr>Sharpen Companion Purchase Flow IA Registration: Connect Integrated with a Learning Management System (LMS)  </vt:lpstr>
      <vt:lpstr>Accessing McGraw Hill Connect:  Moodle</vt:lpstr>
      <vt:lpstr>Step 2: </vt:lpstr>
      <vt:lpstr>Step 3: </vt:lpstr>
      <vt:lpstr>Step 4: </vt:lpstr>
      <vt:lpstr>Sharpen Companion Log-In Flow Non-IA and IA: Connect Integrated with a Learning Management System (LMS) </vt:lpstr>
      <vt:lpstr>Sharpen Companion Log-In Flow Part 1</vt:lpstr>
      <vt:lpstr>LMS Cover Sheet:  To access the second launch point, click on the bottom Sharpen assignment to open a new page with the Sharpen access point.   Click Begin to launch Sharpen in a new web window.    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5</cp:revision>
  <dcterms:created xsi:type="dcterms:W3CDTF">2023-07-10T01:20:11Z</dcterms:created>
  <dcterms:modified xsi:type="dcterms:W3CDTF">2025-05-28T21:29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_SharedFileIndex">
    <vt:lpwstr/>
  </property>
  <property fmtid="{D5CDD505-2E9C-101B-9397-08002B2CF9AE}" pid="12" name="_SourceUrl">
    <vt:lpwstr/>
  </property>
</Properties>
</file>